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116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6589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52368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965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944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210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1500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4705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95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74559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6682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4384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91600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8903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30 July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299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73581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en-US" dirty="0" smtClean="0"/>
              <a:t>Increase </a:t>
            </a:r>
            <a:r>
              <a:rPr lang="en-US" dirty="0"/>
              <a:t>production efficiency by eliminating cap blockages </a:t>
            </a:r>
            <a:br>
              <a:rPr lang="en-US" dirty="0"/>
            </a:br>
            <a:r>
              <a:rPr lang="en-US" dirty="0"/>
              <a:t> 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 anchor="b">
            <a:spAutoFit/>
          </a:bodyPr>
          <a:lstStyle/>
          <a:p>
            <a:r>
              <a:rPr lang="en-US" dirty="0" smtClean="0"/>
              <a:t>Double hopper and channel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ue: </a:t>
            </a:r>
            <a:r>
              <a:rPr sz="800" kern="0" dirty="0" smtClean="0">
                <a:solidFill>
                  <a:srgbClr val="000000"/>
                </a:solidFill>
              </a:rPr>
              <a:t>Efficiency</a:t>
            </a:r>
          </a:p>
          <a:p>
            <a:r>
              <a:rPr sz="800" kern="0" dirty="0" smtClean="0">
                <a:solidFill>
                  <a:srgbClr val="000000"/>
                </a:solidFill>
              </a:rPr>
              <a:t>Equipment</a:t>
            </a:r>
            <a:r>
              <a:rPr sz="800" kern="0" dirty="0">
                <a:solidFill>
                  <a:srgbClr val="000000"/>
                </a:solidFill>
              </a:rPr>
              <a:t>: </a:t>
            </a:r>
            <a:r>
              <a:rPr sz="800" kern="0" dirty="0" smtClean="0">
                <a:solidFill>
                  <a:srgbClr val="000000"/>
                </a:solidFill>
              </a:rPr>
              <a:t>Fillers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sz="800" kern="0" dirty="0" smtClean="0">
                <a:solidFill>
                  <a:srgbClr val="000000"/>
                </a:solidFill>
              </a:rPr>
              <a:t>HS009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058761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 stoppages through cap blockage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ction efficiency increased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ewer machine stoppages through cap jams, increasing filler efficiency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cond feed initiates on stoppage in the primary channel, automatically reactivated once the blockage has been eliminated.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ystem consists of:</a:t>
                      </a:r>
                    </a:p>
                    <a:p>
                      <a:pPr marL="533400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55000"/>
                        <a:buFontTx/>
                        <a:buBlip>
                          <a:blip r:embed="rId6"/>
                        </a:buBlip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Second hopper</a:t>
                      </a:r>
                    </a:p>
                    <a:p>
                      <a:pPr marL="533400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55000"/>
                        <a:buFontTx/>
                        <a:buBlip>
                          <a:blip r:embed="rId6"/>
                        </a:buBlip>
                        <a:tabLst/>
                        <a:defRPr/>
                      </a:pPr>
                      <a:r>
                        <a:rPr lang="en-US" sz="1100" kern="1200" noProof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Second 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channel</a:t>
                      </a:r>
                    </a:p>
                    <a:p>
                      <a:pPr marL="533400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55000"/>
                        <a:buFontTx/>
                        <a:buBlip>
                          <a:blip r:embed="rId6"/>
                        </a:buBlip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Double cap chute</a:t>
                      </a:r>
                    </a:p>
                    <a:p>
                      <a:pPr marL="533400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55000"/>
                        <a:buFontTx/>
                        <a:buBlip>
                          <a:blip r:embed="rId6"/>
                        </a:buBlip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Cap divider</a:t>
                      </a:r>
                    </a:p>
                    <a:p>
                      <a:pPr marL="533400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55000"/>
                        <a:buFontTx/>
                        <a:buBlip>
                          <a:blip r:embed="rId6"/>
                        </a:buBlip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Software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3645024"/>
            <a:ext cx="2016224" cy="156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1962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77</Words>
  <Application>Microsoft Office PowerPoint</Application>
  <PresentationFormat>Affichage à l'écran (4:3)</PresentationFormat>
  <Paragraphs>17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15_Sidel Template 2013</vt:lpstr>
      <vt:lpstr>think-cell Folie</vt:lpstr>
      <vt:lpstr>Increase production efficiency by eliminating cap blockages   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ase lifetime of pressurization valves</dc:title>
  <dc:creator>Gouriou, Lydie</dc:creator>
  <cp:lastModifiedBy>Gouriou, Lydie</cp:lastModifiedBy>
  <cp:revision>2</cp:revision>
  <dcterms:created xsi:type="dcterms:W3CDTF">2014-07-30T13:03:43Z</dcterms:created>
  <dcterms:modified xsi:type="dcterms:W3CDTF">2014-07-30T13:10:14Z</dcterms:modified>
</cp:coreProperties>
</file>